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10"/>
  </p:notesMasterIdLst>
  <p:sldIdLst>
    <p:sldId id="258" r:id="rId2"/>
    <p:sldId id="259" r:id="rId3"/>
    <p:sldId id="260" r:id="rId4"/>
    <p:sldId id="261" r:id="rId5"/>
    <p:sldId id="262" r:id="rId6"/>
    <p:sldId id="263" r:id="rId7"/>
    <p:sldId id="264" r:id="rId8"/>
    <p:sldId id="265" r:id="rId9"/>
  </p:sldIdLst>
  <p:sldSz cx="18288000" cy="10287000"/>
  <p:notesSz cx="6858000" cy="9144000"/>
  <p:embeddedFontLst>
    <p:embeddedFont>
      <p:font typeface="Calibri" panose="020F0502020204030204" pitchFamily="34" charset="0"/>
      <p:regular r:id="rId11"/>
      <p:bold r:id="rId12"/>
      <p:italic r:id="rId13"/>
      <p:boldItalic r:id="rId14"/>
    </p:embeddedFont>
    <p:embeddedFont>
      <p:font typeface="Roboto Light" panose="02000000000000000000" pitchFamily="2" charset="0"/>
      <p:regular r:id="rId15"/>
      <p:bold r:id="rId16"/>
      <p:italic r:id="rId17"/>
      <p:boldItalic r:id="rId18"/>
    </p:embeddedFont>
  </p:embeddedFontLst>
  <p:custDataLst>
    <p:tags r:id="rId1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48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DDAF70-7EA5-DB48-9B3A-37079EDC40EA}" v="5" dt="2023-09-13T12:30:16.40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81"/>
    <p:restoredTop sz="94684"/>
  </p:normalViewPr>
  <p:slideViewPr>
    <p:cSldViewPr snapToGrid="0">
      <p:cViewPr varScale="1">
        <p:scale>
          <a:sx n="76" d="100"/>
          <a:sy n="76" d="100"/>
        </p:scale>
        <p:origin x="558" y="102"/>
      </p:cViewPr>
      <p:guideLst>
        <p:guide orient="horz" pos="648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" Type="http://schemas.openxmlformats.org/officeDocument/2006/relationships/slide" Target="slides/slide1.xml"/><Relationship Id="rId16" Type="http://schemas.openxmlformats.org/officeDocument/2006/relationships/font" Target="fonts/font6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font" Target="fonts/font5.fntdata"/><Relationship Id="rId23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4.fntdata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Google Shape;13;p2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5165912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Google Shape;18;p3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Z_FINAL_SLIDE" userDrawn="1">
  <p:cSld name="END_SLIDE">
    <p:bg>
      <p:bgPr>
        <a:solidFill>
          <a:schemeClr val="lt1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3FA9C0-522C-1ABD-D14A-7299E05376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4423718"/>
            <a:ext cx="18288000" cy="586328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US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CEABAFD-74D6-51C2-98C1-CCA5795CCD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0678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Google Shape;41;p7"/>
          <p:cNvSpPr txBox="1">
            <a:spLocks noGrp="1"/>
          </p:cNvSpPr>
          <p:nvPr>
            <p:ph type="title" hasCustomPrompt="1"/>
          </p:nvPr>
        </p:nvSpPr>
        <p:spPr>
          <a:xfrm>
            <a:off x="929400" y="1027449"/>
            <a:ext cx="13997562" cy="271046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42" name="Google Shape;42;p7"/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5143500"/>
            <a:ext cx="14635650" cy="445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43" name="Google Shape;43;p7"/>
          <p:cNvSpPr>
            <a:spLocks noGrp="1"/>
          </p:cNvSpPr>
          <p:nvPr>
            <p:ph type="pic" idx="2" hasCustomPrompt="1"/>
          </p:nvPr>
        </p:nvSpPr>
        <p:spPr>
          <a:xfrm>
            <a:off x="15565050" y="1027450"/>
            <a:ext cx="180870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966960"/>
            <a:ext cx="18288000" cy="32003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3" name="Google Shape;17;p3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25" name="Google Shape;17;p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3" name="Google Shape;17;p3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25" name="Google Shape;17;p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" name="Google Shape;17;p3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2" name="Google Shape;17;p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1" name="Google Shape;17;p3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2277035"/>
            <a:ext cx="11320550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0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01EAD0F-8252-A92E-A4DF-B071AD590EF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0"/>
            <a:ext cx="18288000" cy="10293350"/>
          </a:xfrm>
          <a:solidFill>
            <a:schemeClr val="bg1">
              <a:lumMod val="75000"/>
              <a:alpha val="80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6119813" y="5869292"/>
            <a:ext cx="6093129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Google Shape;13;p2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Google Shape;14;p2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BASIC_CONTENT_V1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Google Shape;35;p6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TEXT" userDrawn="1">
  <p:cSld name="HEADING_LEFT_CONTENT_RIGH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A552A79-B159-5259-79DF-C48F82B0D5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9154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Google Shape;25;p4"/>
          <p:cNvSpPr txBox="1"/>
          <p:nvPr/>
        </p:nvSpPr>
        <p:spPr>
          <a:xfrm>
            <a:off x="942500" y="9602000"/>
            <a:ext cx="8201400" cy="3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Roboto Light"/>
                <a:ea typeface="Roboto Light"/>
                <a:cs typeface="Roboto Light"/>
                <a:sym typeface="Roboto Light"/>
              </a:rPr>
              <a:t>Smart Slides ChatGPT Plugin</a:t>
            </a:r>
            <a:endParaRPr>
              <a:latin typeface="Roboto Light"/>
              <a:ea typeface="Roboto Light"/>
              <a:cs typeface="Roboto Light"/>
              <a:sym typeface="Roboto Light"/>
            </a:endParaRPr>
          </a:p>
        </p:txBody>
      </p:sp>
      <p:sp>
        <p:nvSpPr>
          <p:cNvPr id="26" name="Google Shape;26;p4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27" name="Google Shape;27;p4"/>
          <p:cNvSpPr txBox="1">
            <a:spLocks noGrp="1"/>
          </p:cNvSpPr>
          <p:nvPr>
            <p:ph type="body" idx="1" hasCustomPrompt="1"/>
          </p:nvPr>
        </p:nvSpPr>
        <p:spPr>
          <a:xfrm>
            <a:off x="9700325" y="2010750"/>
            <a:ext cx="5844300" cy="75912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US" dirty="0"/>
              <a:t>1</a:t>
            </a:r>
            <a:endParaRPr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384E20F-F2E2-7BD3-CA85-528A005F520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44000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7" name="Google Shape;24;p4">
            <a:extLst>
              <a:ext uri="{FF2B5EF4-FFF2-40B4-BE49-F238E27FC236}">
                <a16:creationId xmlns:a16="http://schemas.microsoft.com/office/drawing/2014/main" id="{80117613-6917-EF6F-BF4D-A48C702D8D66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42500" y="2010750"/>
            <a:ext cx="7119600" cy="17040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US" dirty="0"/>
              <a:t>0</a:t>
            </a:r>
            <a:endParaRPr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8" name="Google Shape;8;p1"/>
          <p:cNvSpPr txBox="1"/>
          <p:nvPr/>
        </p:nvSpPr>
        <p:spPr>
          <a:xfrm>
            <a:off x="942500" y="9602000"/>
            <a:ext cx="8201400" cy="3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Roboto Light"/>
                <a:ea typeface="Roboto Light"/>
                <a:cs typeface="Roboto Light"/>
                <a:sym typeface="Roboto Light"/>
              </a:rPr>
              <a:t>Smart Slides ChatGPT Plugin</a:t>
            </a:r>
            <a:endParaRPr>
              <a:latin typeface="Roboto Light"/>
              <a:ea typeface="Roboto Light"/>
              <a:cs typeface="Roboto Light"/>
              <a:sym typeface="Roboto Light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49" r:id="rId2"/>
    <p:sldLayoutId id="2147483666" r:id="rId3"/>
    <p:sldLayoutId id="2147483662" r:id="rId4"/>
    <p:sldLayoutId id="2147483664" r:id="rId5"/>
    <p:sldLayoutId id="2147483650" r:id="rId6"/>
    <p:sldLayoutId id="2147483660" r:id="rId7"/>
    <p:sldLayoutId id="2147483657" r:id="rId8"/>
    <p:sldLayoutId id="2147483665" r:id="rId9"/>
    <p:sldLayoutId id="2147483658" r:id="rId10"/>
    <p:sldLayoutId id="2147483661" r:id="rId11"/>
    <p:sldLayoutId id="2147483653" r:id="rId12"/>
    <p:sldLayoutId id="2147483655" r:id="rId13"/>
    <p:sldLayoutId id="2147483659" r:id="rId14"/>
    <p:sldLayoutId id="2147483656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solidFill>
            <a:srgbClr val="4CAF50"/>
          </a:solidFill>
        </p:spPr>
        <p:txBody>
          <a:bodyPr/>
          <a:lstStyle/>
          <a:p>
            <a:endParaRPr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defRPr>
                <a:solidFill>
                  <a:srgbClr val="FFFFFF"/>
                </a:solidFill>
              </a:defRPr>
            </a:pPr>
            <a:r>
              <a:t>Gestik in Irland und Deutschlan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Eine Untersuchung der nonverbalen Kommunikation</a:t>
            </a:r>
          </a:p>
          <a:p>
            <a:r>
              <a:t>Vergleich der kulturellen Unterschiede und Ähnlichkeiten in der Körpersprache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4CAF50"/>
                </a:solidFill>
              </a:defRPr>
            </a:pPr>
            <a:r>
              <a:t>Allgemeine Gestik in Irlan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Freundliche und offene Körpersprache</a:t>
            </a:r>
          </a:p>
          <a:p>
            <a:r>
              <a:t>Häufiger Augenkontakt</a:t>
            </a:r>
          </a:p>
          <a:p>
            <a:r>
              <a:t>Nutzung von Handgesten zur Betonung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6394DFC0-DD97-9FC9-ED3B-E82CA93666A4}"/>
              </a:ext>
            </a:extLst>
          </p:cNvPr>
          <p:cNvSpPr/>
          <p:nvPr/>
        </p:nvSpPr>
        <p:spPr>
          <a:xfrm>
            <a:off x="931000" y="9461500"/>
            <a:ext cx="2536100" cy="635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4CAF50"/>
                </a:solidFill>
              </a:defRPr>
            </a:pPr>
            <a:r>
              <a:t>Allgemeine Gestik in Deutschlan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Direkter Augenkontakt ist wichtig</a:t>
            </a:r>
          </a:p>
          <a:p>
            <a:r>
              <a:t>Klare und präzise Handgesten</a:t>
            </a:r>
          </a:p>
          <a:p>
            <a:r>
              <a:t>Respektieren des persönlichen Raums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295A678D-FDC2-56E3-A223-987D90394305}"/>
              </a:ext>
            </a:extLst>
          </p:cNvPr>
          <p:cNvSpPr/>
          <p:nvPr/>
        </p:nvSpPr>
        <p:spPr>
          <a:xfrm>
            <a:off x="931000" y="9461500"/>
            <a:ext cx="2536100" cy="635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4CAF50"/>
                </a:solidFill>
              </a:defRPr>
            </a:pPr>
            <a:r>
              <a:t>Unterschiede in der Gestik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6800" y="2010600"/>
            <a:ext cx="11320550" cy="7324190"/>
          </a:xfrm>
        </p:spPr>
        <p:txBody>
          <a:bodyPr/>
          <a:lstStyle/>
          <a:p>
            <a:r>
              <a:t>Irland neigt zu einer entspannteren Körpersprache</a:t>
            </a:r>
          </a:p>
          <a:p>
            <a:r>
              <a:t>Deutschland bevorzugt formelle und zurückhaltende Gesten</a:t>
            </a:r>
          </a:p>
          <a:p>
            <a:r>
              <a:t>Verschiedene Interpretationen ähnlicher Gesten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50163828-B5BC-9261-B548-82A78F090262}"/>
              </a:ext>
            </a:extLst>
          </p:cNvPr>
          <p:cNvSpPr/>
          <p:nvPr/>
        </p:nvSpPr>
        <p:spPr>
          <a:xfrm>
            <a:off x="931000" y="9461500"/>
            <a:ext cx="2536100" cy="635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7D9D129-E181-1956-4779-CB7EF0082445}"/>
              </a:ext>
            </a:extLst>
          </p:cNvPr>
          <p:cNvSpPr/>
          <p:nvPr/>
        </p:nvSpPr>
        <p:spPr>
          <a:xfrm>
            <a:off x="1083400" y="9613900"/>
            <a:ext cx="2536100" cy="635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4CAF50"/>
                </a:solidFill>
              </a:defRPr>
            </a:pPr>
            <a:r>
              <a:t>Ähnlichkeiten in der Gestik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Bestimmte universelle Gesten, wie Nicken für 'Ja' und Kopfschütteln für 'Nein'</a:t>
            </a:r>
          </a:p>
          <a:p>
            <a:r>
              <a:t>Verwendung von Handgesten zur Verstärkung von Aussagen</a:t>
            </a:r>
          </a:p>
          <a:p>
            <a:r>
              <a:t>Betonung durch Mimik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AE400F57-70AF-6453-1467-F0224F951A8F}"/>
              </a:ext>
            </a:extLst>
          </p:cNvPr>
          <p:cNvSpPr/>
          <p:nvPr/>
        </p:nvSpPr>
        <p:spPr>
          <a:xfrm>
            <a:off x="931000" y="9461500"/>
            <a:ext cx="2536100" cy="635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4CAF50"/>
                </a:solidFill>
              </a:defRPr>
            </a:pPr>
            <a:r>
              <a:t>Kultureller Kontex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Kulturelle Normen beeinflussen die Verwendung und Interpretation von Gesten</a:t>
            </a:r>
          </a:p>
          <a:p>
            <a:r>
              <a:t>Bedeutung von Kontext und Beziehung zwischen den Kommunikatoren</a:t>
            </a:r>
          </a:p>
          <a:p>
            <a:r>
              <a:t>Bewusstsein für mögliche Missverständnisse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A18D6CA9-D3D9-1305-C1B8-B94A8A797DE6}"/>
              </a:ext>
            </a:extLst>
          </p:cNvPr>
          <p:cNvSpPr/>
          <p:nvPr/>
        </p:nvSpPr>
        <p:spPr>
          <a:xfrm>
            <a:off x="931000" y="9461500"/>
            <a:ext cx="2536100" cy="635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4CAF50"/>
                </a:solidFill>
              </a:defRPr>
            </a:pPr>
            <a:r>
              <a:t>Beispiele und Illustration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Visuelle Darstellungen typischer Gesten</a:t>
            </a:r>
          </a:p>
          <a:p>
            <a:r>
              <a:t>Erklärungen zu ihrer Bedeutung und Verwendung</a:t>
            </a:r>
          </a:p>
          <a:p>
            <a:r>
              <a:t>Hinweise auf mögliche kulturelle Fallstricke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27DB3853-4224-6EDA-5858-F9996007150D}"/>
              </a:ext>
            </a:extLst>
          </p:cNvPr>
          <p:cNvSpPr/>
          <p:nvPr/>
        </p:nvSpPr>
        <p:spPr>
          <a:xfrm>
            <a:off x="931000" y="9461500"/>
            <a:ext cx="2536100" cy="635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solidFill>
            <a:srgbClr val="4CAF50"/>
          </a:solidFill>
        </p:spPr>
        <p:txBody>
          <a:bodyPr/>
          <a:lstStyle/>
          <a:p>
            <a:endParaRPr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4CAF50"/>
                </a:solidFill>
              </a:defRPr>
            </a:pPr>
            <a:r>
              <a:t>Fazi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t>Bedeutung der Kenntnis kultureller Unterschiede in der Gestik</a:t>
            </a:r>
          </a:p>
          <a:p>
            <a:r>
              <a:t>Wertschätzung und Respekt für interkulturelle Kommunikation</a:t>
            </a:r>
          </a:p>
          <a:p>
            <a:r>
              <a:t>Bedeutung effektiver nonverbaler Kommunikation in einer globalisierten Welt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/>
          <a:stretch>
            <a:fillRect/>
          </a:stretch>
        </p:blipFill>
        <p:spPr/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2</Words>
  <Application>Microsoft Office PowerPoint</Application>
  <PresentationFormat>Benutzerdefiniert</PresentationFormat>
  <Paragraphs>31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3" baseType="lpstr">
      <vt:lpstr>Roboto Light</vt:lpstr>
      <vt:lpstr>Arial</vt:lpstr>
      <vt:lpstr>Calibri</vt:lpstr>
      <vt:lpstr>Smart Slides v1</vt:lpstr>
      <vt:lpstr>think-cell Slide</vt:lpstr>
      <vt:lpstr>Gestik in Irland und Deutschland</vt:lpstr>
      <vt:lpstr>Allgemeine Gestik in Irland</vt:lpstr>
      <vt:lpstr>Allgemeine Gestik in Deutschland</vt:lpstr>
      <vt:lpstr>Unterschiede in der Gestik</vt:lpstr>
      <vt:lpstr>Ähnlichkeiten in der Gestik</vt:lpstr>
      <vt:lpstr>Kultureller Kontext</vt:lpstr>
      <vt:lpstr>Beispiele und Illustrationen</vt:lpstr>
      <vt:lpstr>Fazi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cp:lastModifiedBy>Borgmann René</cp:lastModifiedBy>
  <cp:revision>31</cp:revision>
  <dcterms:modified xsi:type="dcterms:W3CDTF">2023-10-05T11:23:28Z</dcterms:modified>
</cp:coreProperties>
</file>